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2" r:id="rId1"/>
    <p:sldMasterId id="2147483793" r:id="rId2"/>
  </p:sldMasterIdLst>
  <p:notesMasterIdLst>
    <p:notesMasterId r:id="rId15"/>
  </p:notesMasterIdLst>
  <p:handoutMasterIdLst>
    <p:handoutMasterId r:id="rId16"/>
  </p:handoutMasterIdLst>
  <p:sldIdLst>
    <p:sldId id="755" r:id="rId3"/>
    <p:sldId id="756" r:id="rId4"/>
    <p:sldId id="797" r:id="rId5"/>
    <p:sldId id="798" r:id="rId6"/>
    <p:sldId id="799" r:id="rId7"/>
    <p:sldId id="800" r:id="rId8"/>
    <p:sldId id="801" r:id="rId9"/>
    <p:sldId id="802" r:id="rId10"/>
    <p:sldId id="803" r:id="rId11"/>
    <p:sldId id="804" r:id="rId12"/>
    <p:sldId id="805" r:id="rId13"/>
    <p:sldId id="785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huong Dao Hai (CC FIS-HN)" initials="PDH(F" lastIdx="3" clrIdx="0">
    <p:extLst>
      <p:ext uri="{19B8F6BF-5375-455C-9EA6-DF929625EA0E}">
        <p15:presenceInfo xmlns:p15="http://schemas.microsoft.com/office/powerpoint/2012/main" userId="S-1-5-21-1630882866-1561864792-1757479407-2877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B04A"/>
    <a:srgbClr val="675E59"/>
    <a:srgbClr val="ED7D31"/>
    <a:srgbClr val="1569B2"/>
    <a:srgbClr val="99CC00"/>
    <a:srgbClr val="1F4E79"/>
    <a:srgbClr val="C9C9C9"/>
    <a:srgbClr val="A9D18E"/>
    <a:srgbClr val="9DC3E6"/>
    <a:srgbClr val="FBE5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700" autoAdjust="0"/>
    <p:restoredTop sz="96296" autoAdjust="0"/>
  </p:normalViewPr>
  <p:slideViewPr>
    <p:cSldViewPr snapToGrid="0">
      <p:cViewPr varScale="1">
        <p:scale>
          <a:sx n="113" d="100"/>
          <a:sy n="113" d="100"/>
        </p:scale>
        <p:origin x="408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5" d="100"/>
          <a:sy n="65" d="100"/>
        </p:scale>
        <p:origin x="3082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vi-V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371938-A0EE-4865-8AAA-124DC49D7F54}" type="datetimeFigureOut">
              <a:rPr lang="vi-VN" smtClean="0"/>
              <a:t>21/02/2023</a:t>
            </a:fld>
            <a:endParaRPr lang="vi-V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vi-V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B7A2F9-938F-4698-950A-B40227127169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4820209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vi-V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D147D1-700E-4C6B-B267-99B38D72DEF0}" type="datetimeFigureOut">
              <a:rPr lang="vi-VN" smtClean="0"/>
              <a:t>21/02/2023</a:t>
            </a:fld>
            <a:endParaRPr lang="vi-V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vi-V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vi-V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vi-V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AF6ED-B959-410B-ABB7-88A5264A133C}" type="slidenum">
              <a:rPr lang="vi-VN" smtClean="0"/>
              <a:t>‹#›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3022393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AF6ED-B959-410B-ABB7-88A5264A133C}" type="slidenum">
              <a:rPr lang="vi-VN" smtClean="0"/>
              <a:t>1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222857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AF6ED-B959-410B-ABB7-88A5264A133C}" type="slidenum">
              <a:rPr lang="vi-VN" smtClean="0"/>
              <a:t>10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8623040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AF6ED-B959-410B-ABB7-88A5264A133C}" type="slidenum">
              <a:rPr lang="vi-VN" smtClean="0"/>
              <a:t>11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268683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AF6ED-B959-410B-ABB7-88A5264A133C}" type="slidenum">
              <a:rPr lang="vi-VN" smtClean="0"/>
              <a:t>2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2924682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AF6ED-B959-410B-ABB7-88A5264A133C}" type="slidenum">
              <a:rPr lang="vi-VN" smtClean="0"/>
              <a:t>3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13469168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AF6ED-B959-410B-ABB7-88A5264A133C}" type="slidenum">
              <a:rPr lang="vi-VN" smtClean="0"/>
              <a:t>4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3496048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AF6ED-B959-410B-ABB7-88A5264A133C}" type="slidenum">
              <a:rPr lang="vi-VN" smtClean="0"/>
              <a:t>5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1274607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AF6ED-B959-410B-ABB7-88A5264A133C}" type="slidenum">
              <a:rPr lang="vi-VN" smtClean="0"/>
              <a:t>6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1257867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AF6ED-B959-410B-ABB7-88A5264A133C}" type="slidenum">
              <a:rPr lang="vi-VN" smtClean="0"/>
              <a:t>7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9727532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AF6ED-B959-410B-ABB7-88A5264A133C}" type="slidenum">
              <a:rPr lang="vi-VN" smtClean="0"/>
              <a:t>8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34589551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vi-V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AF6ED-B959-410B-ABB7-88A5264A133C}" type="slidenum">
              <a:rPr lang="vi-VN" smtClean="0"/>
              <a:t>9</a:t>
            </a:fld>
            <a:endParaRPr lang="vi-VN"/>
          </a:p>
        </p:txBody>
      </p:sp>
    </p:spTree>
    <p:extLst>
      <p:ext uri="{BB962C8B-B14F-4D97-AF65-F5344CB8AC3E}">
        <p14:creationId xmlns:p14="http://schemas.microsoft.com/office/powerpoint/2010/main" val="26882384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rang bì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Smart Projects\FPT FIS\FIS presentation\Export\nen vang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8935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86401" y="3276602"/>
            <a:ext cx="6045200" cy="828221"/>
          </a:xfrm>
        </p:spPr>
        <p:txBody>
          <a:bodyPr>
            <a:normAutofit/>
          </a:bodyPr>
          <a:lstStyle>
            <a:lvl1pPr algn="l">
              <a:defRPr sz="3000" b="0" cap="none" spc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86400" y="4495802"/>
            <a:ext cx="5605930" cy="987425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27" name="Picture 3" descr="D:\Smart Projects\FPT FIS\FIS presentation\Export\Logo_FIS trang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7601" y="533400"/>
            <a:ext cx="2535766" cy="50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3688415" y="-409794"/>
            <a:ext cx="8870014" cy="7309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98447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FDD9BE-276A-4E8D-B35A-24D57D7DB8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9C66B8-19FE-4547-9713-3266552747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FBF958-7C36-4472-8394-B5E14604E5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0FE10CF-38CF-4907-A409-AAD2DAEF1D9C}" type="datetimeFigureOut">
              <a:rPr lang="en-GB" smtClean="0"/>
              <a:t>21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E9D50D-6FA1-4666-BE2E-19A58A015C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713389-76A3-4665-A11D-C593D3B83D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543E95-FB17-4029-B72B-7A1096AEC99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98183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83C293-C080-431A-A409-F0DE115BB7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E6B153-F424-45E1-919D-415A28408C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3A1161-E345-4695-BDB7-909D234BEFD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0FE10CF-38CF-4907-A409-AAD2DAEF1D9C}" type="datetimeFigureOut">
              <a:rPr lang="en-GB" smtClean="0"/>
              <a:t>21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8A4935-F001-4186-8D86-B0621CDE5C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2B3034-F03B-4E21-93B4-8F87C0CFE2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543E95-FB17-4029-B72B-7A1096AEC99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10333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F75134-5922-4962-8F95-5C9E9A8ED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2D7119-A7A9-4A05-BF6B-42FDEF858D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ED7755-BFBF-41FB-BE80-60CA622E0A4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0FE10CF-38CF-4907-A409-AAD2DAEF1D9C}" type="datetimeFigureOut">
              <a:rPr lang="en-GB" smtClean="0"/>
              <a:t>21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1E23CE-9FA5-488B-9915-BFD654D52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2098F6-F643-48CD-92E7-B92604594F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543E95-FB17-4029-B72B-7A1096AEC99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82166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99A047-E97D-4743-A496-C55A7F4BA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6CDCE0-61A5-49B7-AC72-35FA249E03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20751A-FC04-4248-BFD6-0683BECF8C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832FFD-61B1-43F6-AB29-EDC62897AC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0FE10CF-38CF-4907-A409-AAD2DAEF1D9C}" type="datetimeFigureOut">
              <a:rPr lang="en-GB" smtClean="0"/>
              <a:t>21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B5DD1A-C56D-47C5-A754-3D1646D0B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6D8BDF-283E-494E-A1B4-5ED50CC0B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543E95-FB17-4029-B72B-7A1096AEC99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01044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2BFDE-DD7B-4CD5-9187-8479329676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16F2C6-8599-406B-B6A8-36CEDF0B7C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59E5D8-0B3F-4BD8-B860-111EF232D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4C68B1-60B3-40CE-AA4B-BA838166962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E380FBC-3318-4ACC-AD71-6B3F675751C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6D8BDF7-2586-41CB-A203-613F08A404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0FE10CF-38CF-4907-A409-AAD2DAEF1D9C}" type="datetimeFigureOut">
              <a:rPr lang="en-GB" smtClean="0"/>
              <a:t>21/02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078829A-2C6C-43AC-B00E-FF383A8CB7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A3C3FE-CDE3-445D-8F12-DB4761B04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543E95-FB17-4029-B72B-7A1096AEC99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22252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E74B1-716E-4B61-BAB8-BAFE7ACF2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075ACA-9C92-4965-AC68-11BB27E6F4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0FE10CF-38CF-4907-A409-AAD2DAEF1D9C}" type="datetimeFigureOut">
              <a:rPr lang="en-GB" smtClean="0"/>
              <a:t>21/02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989E78-6ADE-47F9-9E4E-BC526845CC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1092B2-FB2C-43C4-B3DA-21F22830CD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543E95-FB17-4029-B72B-7A1096AEC99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33767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5FEC1E0-525D-4E4A-80D7-3F0F96587E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0FE10CF-38CF-4907-A409-AAD2DAEF1D9C}" type="datetimeFigureOut">
              <a:rPr lang="en-GB" smtClean="0"/>
              <a:t>21/02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938881-1713-4726-B954-5CCEA97914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C88D78-4A7E-4F73-A30B-0E489702ED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543E95-FB17-4029-B72B-7A1096AEC99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57724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211FB6-852B-494E-B0E3-E05061C56A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CD6A6D-9437-4FD6-BA92-CA4B97B41E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3FA4E4-2067-4F15-B165-EFBFE12E12C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B86780-9702-4326-9D1B-9881B4BBC8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0FE10CF-38CF-4907-A409-AAD2DAEF1D9C}" type="datetimeFigureOut">
              <a:rPr lang="en-GB" smtClean="0"/>
              <a:t>21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8C77F0-2CEA-4504-A809-0A35AEF865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477F49-DFFD-4C5F-A9D6-57AC4C594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543E95-FB17-4029-B72B-7A1096AEC99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5069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C556D2-1E2E-45EE-937A-965752D981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9C0668B-550F-47DE-A50D-56F5AA5B41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AD5369-E0AD-441F-A660-C5815424AD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090686-42B3-4B81-B474-72A5A21DEDF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0FE10CF-38CF-4907-A409-AAD2DAEF1D9C}" type="datetimeFigureOut">
              <a:rPr lang="en-GB" smtClean="0"/>
              <a:t>21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4D778B-41B8-483F-8A5D-F2C3C84BF6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78CA52-0E5D-42D5-BFFD-F4A5AA71FE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543E95-FB17-4029-B72B-7A1096AEC99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33137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AE60D3-1E5A-46EA-A702-5FB0A4A996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39ADE12-33C0-4F3F-8A66-6918796A17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DA50D4-DBE2-414C-9DEA-AF93162476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0FE10CF-38CF-4907-A409-AAD2DAEF1D9C}" type="datetimeFigureOut">
              <a:rPr lang="en-GB" smtClean="0"/>
              <a:t>21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AF9622-4F71-4399-ADA8-238EF74FD4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DE4120-D528-44CC-909F-5EA2C640D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543E95-FB17-4029-B72B-7A1096AEC99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00578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 cau v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6901" y="217925"/>
            <a:ext cx="8537100" cy="534355"/>
          </a:xfrm>
        </p:spPr>
        <p:txBody>
          <a:bodyPr anchor="ctr">
            <a:noAutofit/>
          </a:bodyPr>
          <a:lstStyle>
            <a:lvl1pPr algn="l">
              <a:defRPr sz="30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8"/>
          </p:nvPr>
        </p:nvSpPr>
        <p:spPr>
          <a:xfrm>
            <a:off x="609600" y="771148"/>
            <a:ext cx="10668000" cy="295652"/>
          </a:xfr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2925278" y="992666"/>
            <a:ext cx="6684478" cy="5406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444" y="247237"/>
            <a:ext cx="1684874" cy="475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5374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998C764-860C-42FC-9537-B12DD95001B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F3C344-9094-4B14-BB2C-FE5975AC5F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C86D2E-D074-4A19-BCC2-761E4291583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0FE10CF-38CF-4907-A409-AAD2DAEF1D9C}" type="datetimeFigureOut">
              <a:rPr lang="en-GB" smtClean="0"/>
              <a:t>21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7085D2-1F2E-4BD2-AC68-FC609B3026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803C3D-EB91-4092-9F89-80B92AD19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D543E95-FB17-4029-B72B-7A1096AEC99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5600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04109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 cau v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2925278" y="992666"/>
            <a:ext cx="6684478" cy="5406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444" y="247237"/>
            <a:ext cx="1684874" cy="475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736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 cau tr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3" imgH="573" progId="TCLayout.ActiveDocument.1">
                  <p:embed/>
                </p:oleObj>
              </mc:Choice>
              <mc:Fallback>
                <p:oleObj name="think-cell Slide" r:id="rId3" imgW="573" imgH="5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6901" y="217925"/>
            <a:ext cx="8537100" cy="534355"/>
          </a:xfrm>
        </p:spPr>
        <p:txBody>
          <a:bodyPr anchor="ctr">
            <a:noAutofit/>
          </a:bodyPr>
          <a:lstStyle>
            <a:lvl1pPr algn="l">
              <a:defRPr sz="30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8"/>
          </p:nvPr>
        </p:nvSpPr>
        <p:spPr>
          <a:xfrm>
            <a:off x="609600" y="771148"/>
            <a:ext cx="10668000" cy="295652"/>
          </a:xfr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1667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6/1/2016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A4573C-DBEA-4246-95CA-9D85DB27894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09143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m kha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" descr="D:\My Documents\Desktop\FIS\Export\icon\New folder\logo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2879" y="305710"/>
            <a:ext cx="2275417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itle 1"/>
          <p:cNvSpPr>
            <a:spLocks noGrp="1"/>
          </p:cNvSpPr>
          <p:nvPr userDrawn="1">
            <p:ph type="title"/>
          </p:nvPr>
        </p:nvSpPr>
        <p:spPr>
          <a:xfrm>
            <a:off x="606901" y="217925"/>
            <a:ext cx="8537100" cy="534355"/>
          </a:xfrm>
        </p:spPr>
        <p:txBody>
          <a:bodyPr anchor="ctr">
            <a:noAutofit/>
          </a:bodyPr>
          <a:lstStyle>
            <a:lvl1pPr algn="l">
              <a:defRPr sz="30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"/>
          <p:cNvSpPr>
            <a:spLocks noGrp="1"/>
          </p:cNvSpPr>
          <p:nvPr userDrawn="1">
            <p:ph type="body" sz="half" idx="18"/>
          </p:nvPr>
        </p:nvSpPr>
        <p:spPr>
          <a:xfrm>
            <a:off x="609600" y="771148"/>
            <a:ext cx="10668000" cy="295652"/>
          </a:xfr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3"/>
          <p:cNvSpPr>
            <a:spLocks noGrp="1"/>
          </p:cNvSpPr>
          <p:nvPr userDrawn="1">
            <p:ph type="body" sz="half" idx="19"/>
          </p:nvPr>
        </p:nvSpPr>
        <p:spPr>
          <a:xfrm>
            <a:off x="609600" y="1074745"/>
            <a:ext cx="10668000" cy="295652"/>
          </a:xfrm>
        </p:spPr>
        <p:txBody>
          <a:bodyPr anchor="ctr">
            <a:noAutofit/>
          </a:bodyPr>
          <a:lstStyle>
            <a:lvl1pPr marL="0" indent="0" algn="l">
              <a:buNone/>
              <a:defRPr sz="16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49488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n tr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My Documents\Desktop\FIS\Export\icon\New folder\logo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2879" y="305710"/>
            <a:ext cx="2275417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06901" y="217925"/>
            <a:ext cx="8537100" cy="534355"/>
          </a:xfrm>
        </p:spPr>
        <p:txBody>
          <a:bodyPr anchor="ctr">
            <a:noAutofit/>
          </a:bodyPr>
          <a:lstStyle>
            <a:lvl1pPr algn="l">
              <a:defRPr sz="30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09600" y="771148"/>
            <a:ext cx="10668000" cy="295652"/>
          </a:xfr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0424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71295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 cau tr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3" imgH="573" progId="TCLayout.ActiveDocument.1">
                  <p:embed/>
                </p:oleObj>
              </mc:Choice>
              <mc:Fallback>
                <p:oleObj name="think-cell Slide" r:id="rId3" imgW="573" imgH="5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6901" y="217925"/>
            <a:ext cx="8537100" cy="534355"/>
          </a:xfrm>
        </p:spPr>
        <p:txBody>
          <a:bodyPr anchor="ctr">
            <a:noAutofit/>
          </a:bodyPr>
          <a:lstStyle>
            <a:lvl1pPr algn="l">
              <a:defRPr sz="30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8"/>
          </p:nvPr>
        </p:nvSpPr>
        <p:spPr>
          <a:xfrm>
            <a:off x="609600" y="771148"/>
            <a:ext cx="10668000" cy="295652"/>
          </a:xfrm>
        </p:spPr>
        <p:txBody>
          <a:bodyPr anchor="ctr">
            <a:noAutofit/>
          </a:bodyPr>
          <a:lstStyle>
            <a:lvl1pPr marL="0" indent="0" algn="l">
              <a:buNone/>
              <a:defRPr sz="20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1667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6/1/2016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A4573C-DBEA-4246-95CA-9D85DB27894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6449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alysis Chart Image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589486" y="0"/>
            <a:ext cx="5602514" cy="6858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11311710" y="550528"/>
            <a:ext cx="406719" cy="443223"/>
          </a:xfrm>
          <a:custGeom>
            <a:avLst/>
            <a:gdLst>
              <a:gd name="connsiteX0" fmla="*/ 0 w 427416"/>
              <a:gd name="connsiteY0" fmla="*/ 0 h 358106"/>
              <a:gd name="connsiteX1" fmla="*/ 26986 w 427416"/>
              <a:gd name="connsiteY1" fmla="*/ 0 h 358106"/>
              <a:gd name="connsiteX2" fmla="*/ 400430 w 427416"/>
              <a:gd name="connsiteY2" fmla="*/ 0 h 358106"/>
              <a:gd name="connsiteX3" fmla="*/ 427416 w 427416"/>
              <a:gd name="connsiteY3" fmla="*/ 0 h 358106"/>
              <a:gd name="connsiteX4" fmla="*/ 427416 w 427416"/>
              <a:gd name="connsiteY4" fmla="*/ 286485 h 358106"/>
              <a:gd name="connsiteX5" fmla="*/ 213708 w 427416"/>
              <a:gd name="connsiteY5" fmla="*/ 358106 h 358106"/>
              <a:gd name="connsiteX6" fmla="*/ 0 w 427416"/>
              <a:gd name="connsiteY6" fmla="*/ 286485 h 358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416" h="358106">
                <a:moveTo>
                  <a:pt x="0" y="0"/>
                </a:moveTo>
                <a:lnTo>
                  <a:pt x="26986" y="0"/>
                </a:lnTo>
                <a:lnTo>
                  <a:pt x="400430" y="0"/>
                </a:lnTo>
                <a:lnTo>
                  <a:pt x="427416" y="0"/>
                </a:lnTo>
                <a:lnTo>
                  <a:pt x="427416" y="286485"/>
                </a:lnTo>
                <a:lnTo>
                  <a:pt x="213708" y="358106"/>
                </a:lnTo>
                <a:lnTo>
                  <a:pt x="0" y="28648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0" tIns="72000" rIns="0" bIns="108000" anchor="ctr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A4123DEC-A5C5-46A3-86FB-AE47876F1485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7603629" y="6325230"/>
            <a:ext cx="4114800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IN" dirty="0"/>
              <a:t>Footer goes here</a:t>
            </a: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594360" y="550529"/>
            <a:ext cx="9396000" cy="286232"/>
          </a:xfrm>
          <a:prstGeom prst="rect">
            <a:avLst/>
          </a:prstGeom>
        </p:spPr>
        <p:txBody>
          <a:bodyPr lIns="0" anchor="ctr" anchorCtr="0">
            <a:spAutoFit/>
          </a:bodyPr>
          <a:lstStyle>
            <a:lvl1pPr marL="0" indent="0" algn="l">
              <a:buFontTx/>
              <a:buNone/>
              <a:defRPr sz="1400" baseline="0">
                <a:solidFill>
                  <a:schemeClr val="bg1">
                    <a:lumMod val="65000"/>
                  </a:schemeClr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2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2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2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Subtitle goes here</a:t>
            </a:r>
            <a:endParaRPr lang="en-IN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94360" y="837500"/>
            <a:ext cx="9396000" cy="38779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algn="l"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290410" y="1672961"/>
            <a:ext cx="3762602" cy="2117989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273441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 nodePh="1">
                                  <p:stCondLst>
                                    <p:cond delay="300"/>
                                  </p:stCondLst>
                                  <p:endCondLst>
                                    <p:cond evt="begin" delay="0">
                                      <p:tn val="2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3" grpId="0"/>
      <p:bldP spid="7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  <p:bldP spid="9" grpId="0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9.jpe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8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6196652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73" imgH="573" progId="TCLayout.ActiveDocument.1">
                  <p:embed/>
                </p:oleObj>
              </mc:Choice>
              <mc:Fallback>
                <p:oleObj name="think-cell Slide" r:id="rId13" imgW="573" imgH="5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66D1539-7706-4880-8036-5F9A74CD316D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6/1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A4573C-DBEA-4246-95CA-9D85DB2789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6185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90" r:id="rId7"/>
    <p:sldLayoutId id="2147483781" r:id="rId8"/>
    <p:sldLayoutId id="2147483780" r:id="rId9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478528" y="1124160"/>
            <a:ext cx="1149788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 Diagonal Corner Rectangle 4"/>
          <p:cNvSpPr/>
          <p:nvPr userDrawn="1"/>
        </p:nvSpPr>
        <p:spPr>
          <a:xfrm>
            <a:off x="-737424" y="-81729"/>
            <a:ext cx="1474847" cy="1495661"/>
          </a:xfrm>
          <a:custGeom>
            <a:avLst/>
            <a:gdLst>
              <a:gd name="connsiteX0" fmla="*/ 191915 w 1151467"/>
              <a:gd name="connsiteY0" fmla="*/ 0 h 1346200"/>
              <a:gd name="connsiteX1" fmla="*/ 1151467 w 1151467"/>
              <a:gd name="connsiteY1" fmla="*/ 0 h 1346200"/>
              <a:gd name="connsiteX2" fmla="*/ 1151467 w 1151467"/>
              <a:gd name="connsiteY2" fmla="*/ 0 h 1346200"/>
              <a:gd name="connsiteX3" fmla="*/ 1151467 w 1151467"/>
              <a:gd name="connsiteY3" fmla="*/ 1154285 h 1346200"/>
              <a:gd name="connsiteX4" fmla="*/ 959552 w 1151467"/>
              <a:gd name="connsiteY4" fmla="*/ 1346200 h 1346200"/>
              <a:gd name="connsiteX5" fmla="*/ 0 w 1151467"/>
              <a:gd name="connsiteY5" fmla="*/ 1346200 h 1346200"/>
              <a:gd name="connsiteX6" fmla="*/ 0 w 1151467"/>
              <a:gd name="connsiteY6" fmla="*/ 1346200 h 1346200"/>
              <a:gd name="connsiteX7" fmla="*/ 0 w 1151467"/>
              <a:gd name="connsiteY7" fmla="*/ 191915 h 1346200"/>
              <a:gd name="connsiteX8" fmla="*/ 191915 w 1151467"/>
              <a:gd name="connsiteY8" fmla="*/ 0 h 1346200"/>
              <a:gd name="connsiteX0" fmla="*/ 191915 w 1430867"/>
              <a:gd name="connsiteY0" fmla="*/ 16934 h 1363134"/>
              <a:gd name="connsiteX1" fmla="*/ 1151467 w 1430867"/>
              <a:gd name="connsiteY1" fmla="*/ 16934 h 1363134"/>
              <a:gd name="connsiteX2" fmla="*/ 1430867 w 1430867"/>
              <a:gd name="connsiteY2" fmla="*/ 0 h 1363134"/>
              <a:gd name="connsiteX3" fmla="*/ 1151467 w 1430867"/>
              <a:gd name="connsiteY3" fmla="*/ 1171219 h 1363134"/>
              <a:gd name="connsiteX4" fmla="*/ 959552 w 1430867"/>
              <a:gd name="connsiteY4" fmla="*/ 1363134 h 1363134"/>
              <a:gd name="connsiteX5" fmla="*/ 0 w 1430867"/>
              <a:gd name="connsiteY5" fmla="*/ 1363134 h 1363134"/>
              <a:gd name="connsiteX6" fmla="*/ 0 w 1430867"/>
              <a:gd name="connsiteY6" fmla="*/ 1363134 h 1363134"/>
              <a:gd name="connsiteX7" fmla="*/ 0 w 1430867"/>
              <a:gd name="connsiteY7" fmla="*/ 208849 h 1363134"/>
              <a:gd name="connsiteX8" fmla="*/ 191915 w 1430867"/>
              <a:gd name="connsiteY8" fmla="*/ 16934 h 1363134"/>
              <a:gd name="connsiteX0" fmla="*/ 191915 w 1430867"/>
              <a:gd name="connsiteY0" fmla="*/ 16934 h 1363134"/>
              <a:gd name="connsiteX1" fmla="*/ 1151467 w 1430867"/>
              <a:gd name="connsiteY1" fmla="*/ 16934 h 1363134"/>
              <a:gd name="connsiteX2" fmla="*/ 1430867 w 1430867"/>
              <a:gd name="connsiteY2" fmla="*/ 0 h 1363134"/>
              <a:gd name="connsiteX3" fmla="*/ 1236134 w 1430867"/>
              <a:gd name="connsiteY3" fmla="*/ 1069619 h 1363134"/>
              <a:gd name="connsiteX4" fmla="*/ 959552 w 1430867"/>
              <a:gd name="connsiteY4" fmla="*/ 1363134 h 1363134"/>
              <a:gd name="connsiteX5" fmla="*/ 0 w 1430867"/>
              <a:gd name="connsiteY5" fmla="*/ 1363134 h 1363134"/>
              <a:gd name="connsiteX6" fmla="*/ 0 w 1430867"/>
              <a:gd name="connsiteY6" fmla="*/ 1363134 h 1363134"/>
              <a:gd name="connsiteX7" fmla="*/ 0 w 1430867"/>
              <a:gd name="connsiteY7" fmla="*/ 208849 h 1363134"/>
              <a:gd name="connsiteX8" fmla="*/ 191915 w 1430867"/>
              <a:gd name="connsiteY8" fmla="*/ 16934 h 1363134"/>
              <a:gd name="connsiteX0" fmla="*/ 191915 w 1430867"/>
              <a:gd name="connsiteY0" fmla="*/ 16934 h 1363134"/>
              <a:gd name="connsiteX1" fmla="*/ 1151467 w 1430867"/>
              <a:gd name="connsiteY1" fmla="*/ 16934 h 1363134"/>
              <a:gd name="connsiteX2" fmla="*/ 1430867 w 1430867"/>
              <a:gd name="connsiteY2" fmla="*/ 0 h 1363134"/>
              <a:gd name="connsiteX3" fmla="*/ 1236134 w 1430867"/>
              <a:gd name="connsiteY3" fmla="*/ 1069619 h 1363134"/>
              <a:gd name="connsiteX4" fmla="*/ 959552 w 1430867"/>
              <a:gd name="connsiteY4" fmla="*/ 1363134 h 1363134"/>
              <a:gd name="connsiteX5" fmla="*/ 0 w 1430867"/>
              <a:gd name="connsiteY5" fmla="*/ 1363134 h 1363134"/>
              <a:gd name="connsiteX6" fmla="*/ 0 w 1430867"/>
              <a:gd name="connsiteY6" fmla="*/ 1363134 h 1363134"/>
              <a:gd name="connsiteX7" fmla="*/ 0 w 1430867"/>
              <a:gd name="connsiteY7" fmla="*/ 208849 h 1363134"/>
              <a:gd name="connsiteX8" fmla="*/ 191915 w 1430867"/>
              <a:gd name="connsiteY8" fmla="*/ 16934 h 1363134"/>
              <a:gd name="connsiteX0" fmla="*/ 191915 w 1430867"/>
              <a:gd name="connsiteY0" fmla="*/ 16934 h 1363134"/>
              <a:gd name="connsiteX1" fmla="*/ 1151467 w 1430867"/>
              <a:gd name="connsiteY1" fmla="*/ 16934 h 1363134"/>
              <a:gd name="connsiteX2" fmla="*/ 1430867 w 1430867"/>
              <a:gd name="connsiteY2" fmla="*/ 0 h 1363134"/>
              <a:gd name="connsiteX3" fmla="*/ 1236134 w 1430867"/>
              <a:gd name="connsiteY3" fmla="*/ 1069619 h 1363134"/>
              <a:gd name="connsiteX4" fmla="*/ 959552 w 1430867"/>
              <a:gd name="connsiteY4" fmla="*/ 1363134 h 1363134"/>
              <a:gd name="connsiteX5" fmla="*/ 0 w 1430867"/>
              <a:gd name="connsiteY5" fmla="*/ 1363134 h 1363134"/>
              <a:gd name="connsiteX6" fmla="*/ 0 w 1430867"/>
              <a:gd name="connsiteY6" fmla="*/ 1363134 h 1363134"/>
              <a:gd name="connsiteX7" fmla="*/ 0 w 1430867"/>
              <a:gd name="connsiteY7" fmla="*/ 208849 h 1363134"/>
              <a:gd name="connsiteX8" fmla="*/ 191915 w 1430867"/>
              <a:gd name="connsiteY8" fmla="*/ 16934 h 1363134"/>
              <a:gd name="connsiteX0" fmla="*/ 191915 w 1430867"/>
              <a:gd name="connsiteY0" fmla="*/ 16934 h 1363134"/>
              <a:gd name="connsiteX1" fmla="*/ 1151467 w 1430867"/>
              <a:gd name="connsiteY1" fmla="*/ 16934 h 1363134"/>
              <a:gd name="connsiteX2" fmla="*/ 1430867 w 1430867"/>
              <a:gd name="connsiteY2" fmla="*/ 0 h 1363134"/>
              <a:gd name="connsiteX3" fmla="*/ 1236134 w 1430867"/>
              <a:gd name="connsiteY3" fmla="*/ 1069619 h 1363134"/>
              <a:gd name="connsiteX4" fmla="*/ 959552 w 1430867"/>
              <a:gd name="connsiteY4" fmla="*/ 1363134 h 1363134"/>
              <a:gd name="connsiteX5" fmla="*/ 0 w 1430867"/>
              <a:gd name="connsiteY5" fmla="*/ 1363134 h 1363134"/>
              <a:gd name="connsiteX6" fmla="*/ 0 w 1430867"/>
              <a:gd name="connsiteY6" fmla="*/ 1363134 h 1363134"/>
              <a:gd name="connsiteX7" fmla="*/ 0 w 1430867"/>
              <a:gd name="connsiteY7" fmla="*/ 208849 h 1363134"/>
              <a:gd name="connsiteX8" fmla="*/ 191915 w 1430867"/>
              <a:gd name="connsiteY8" fmla="*/ 16934 h 136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30867" h="1363134">
                <a:moveTo>
                  <a:pt x="191915" y="16934"/>
                </a:moveTo>
                <a:lnTo>
                  <a:pt x="1151467" y="16934"/>
                </a:lnTo>
                <a:lnTo>
                  <a:pt x="1430867" y="0"/>
                </a:lnTo>
                <a:cubicBezTo>
                  <a:pt x="1363133" y="418629"/>
                  <a:pt x="1312334" y="710257"/>
                  <a:pt x="1236134" y="1069619"/>
                </a:cubicBezTo>
                <a:cubicBezTo>
                  <a:pt x="1236134" y="1175611"/>
                  <a:pt x="1065544" y="1363134"/>
                  <a:pt x="959552" y="1363134"/>
                </a:cubicBezTo>
                <a:lnTo>
                  <a:pt x="0" y="1363134"/>
                </a:lnTo>
                <a:lnTo>
                  <a:pt x="0" y="1363134"/>
                </a:lnTo>
                <a:lnTo>
                  <a:pt x="0" y="208849"/>
                </a:lnTo>
                <a:cubicBezTo>
                  <a:pt x="0" y="102857"/>
                  <a:pt x="85923" y="16934"/>
                  <a:pt x="191915" y="16934"/>
                </a:cubicBezTo>
                <a:close/>
              </a:path>
            </a:pathLst>
          </a:cu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894426" y="237307"/>
            <a:ext cx="989469" cy="597082"/>
          </a:xfrm>
          <a:prstGeom prst="rect">
            <a:avLst/>
          </a:prstGeom>
        </p:spPr>
      </p:pic>
      <p:pic>
        <p:nvPicPr>
          <p:cNvPr id="2" name="Picture 6" descr="Tìm hiểu ý nghĩa đằng sau logo tỉnh Lào Cai có gì đặc biệt?">
            <a:extLst>
              <a:ext uri="{FF2B5EF4-FFF2-40B4-BE49-F238E27FC236}">
                <a16:creationId xmlns:a16="http://schemas.microsoft.com/office/drawing/2014/main" id="{968E2499-D019-F2AE-7D77-5833E8227B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7418" y="152855"/>
            <a:ext cx="866422" cy="866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8316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:a16="http://schemas.microsoft.com/office/drawing/2014/main" id="{C7D40ACA-6BBD-4229-80EF-67A2D2F64B3D}"/>
              </a:ext>
            </a:extLst>
          </p:cNvPr>
          <p:cNvGrpSpPr/>
          <p:nvPr/>
        </p:nvGrpSpPr>
        <p:grpSpPr>
          <a:xfrm>
            <a:off x="-1" y="3762375"/>
            <a:ext cx="12191980" cy="3095615"/>
            <a:chOff x="-1" y="3762375"/>
            <a:chExt cx="12191980" cy="309561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82932CC-C542-441D-AED6-D2B3C6434685}"/>
                </a:ext>
              </a:extLst>
            </p:cNvPr>
            <p:cNvSpPr/>
            <p:nvPr/>
          </p:nvSpPr>
          <p:spPr>
            <a:xfrm>
              <a:off x="-1" y="3762375"/>
              <a:ext cx="12191980" cy="3095615"/>
            </a:xfrm>
            <a:prstGeom prst="rect">
              <a:avLst/>
            </a:prstGeom>
            <a:solidFill>
              <a:srgbClr val="3C4754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B21D5F8F-8646-454E-9F59-A454D240995A}"/>
                </a:ext>
              </a:extLst>
            </p:cNvPr>
            <p:cNvSpPr/>
            <p:nvPr/>
          </p:nvSpPr>
          <p:spPr>
            <a:xfrm>
              <a:off x="0" y="4515997"/>
              <a:ext cx="977552" cy="364766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D292C3E1-58DD-4A57-9142-B249610DC97B}"/>
              </a:ext>
            </a:extLst>
          </p:cNvPr>
          <p:cNvSpPr txBox="1"/>
          <p:nvPr/>
        </p:nvSpPr>
        <p:spPr>
          <a:xfrm>
            <a:off x="1047286" y="4026959"/>
            <a:ext cx="104814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0" i="0" u="none" strike="noStrike" kern="1200" cap="none" spc="-500" normalizeH="0" baseline="0" noProof="0">
                <a:ln>
                  <a:noFill/>
                </a:ln>
                <a:solidFill>
                  <a:srgbClr val="7BBBE0"/>
                </a:solidFill>
                <a:effectLst/>
                <a:uLnTx/>
                <a:uFillTx/>
                <a:latin typeface="Segoe UI" panose="020B0502040204020203" pitchFamily="34" charset="0"/>
                <a:ea typeface="Roboto Medium" panose="02000000000000000000" pitchFamily="2" charset="0"/>
                <a:cs typeface="Segoe UI" panose="020B0502040204020203" pitchFamily="34" charset="0"/>
              </a:rPr>
              <a:t>Chiến lược dữ liệu tỉnh Lào Cai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EDB40E8-B374-43BC-8097-02890C9F772A}"/>
              </a:ext>
            </a:extLst>
          </p:cNvPr>
          <p:cNvSpPr txBox="1"/>
          <p:nvPr/>
        </p:nvSpPr>
        <p:spPr>
          <a:xfrm>
            <a:off x="4767943" y="5908462"/>
            <a:ext cx="7913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noProof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hìa khoá để thúc đẩy chuyển đổi số tỉnh Lào Cai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5DE3061-8F8F-4431-BAB0-6D1F66D52A4E}"/>
              </a:ext>
            </a:extLst>
          </p:cNvPr>
          <p:cNvCxnSpPr>
            <a:cxnSpLocks/>
          </p:cNvCxnSpPr>
          <p:nvPr/>
        </p:nvCxnSpPr>
        <p:spPr>
          <a:xfrm>
            <a:off x="4419899" y="6370127"/>
            <a:ext cx="7467301" cy="17973"/>
          </a:xfrm>
          <a:prstGeom prst="line">
            <a:avLst/>
          </a:prstGeom>
          <a:ln w="3175" cap="rnd"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5392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AB55F464-7F61-4EB6-885C-F411042AA72C}"/>
              </a:ext>
            </a:extLst>
          </p:cNvPr>
          <p:cNvSpPr txBox="1"/>
          <p:nvPr/>
        </p:nvSpPr>
        <p:spPr>
          <a:xfrm>
            <a:off x="622301" y="391328"/>
            <a:ext cx="922161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vi-VN" sz="2200" b="1">
                <a:solidFill>
                  <a:srgbClr val="FF6600"/>
                </a:solidFill>
                <a:latin typeface="Segoe UI" panose="020B0502040204020203" pitchFamily="34" charset="0"/>
                <a:ea typeface="Roboto Medium" panose="02000000000000000000" pitchFamily="2" charset="0"/>
                <a:cs typeface="Segoe UI" panose="020B0502040204020203" pitchFamily="34" charset="0"/>
              </a:rPr>
              <a:t>5. Bài học kinh nghiệm rút ra</a:t>
            </a:r>
            <a:endParaRPr lang="vi-VN" sz="2800" b="1">
              <a:solidFill>
                <a:srgbClr val="FF6600"/>
              </a:solidFill>
              <a:latin typeface="Segoe UI" panose="020B0502040204020203" pitchFamily="34" charset="0"/>
              <a:ea typeface="Roboto Medium" panose="02000000000000000000" pitchFamily="2" charset="0"/>
              <a:cs typeface="Segoe UI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08969B-FFEF-B436-36DB-CDE3E67256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164" y="1377638"/>
            <a:ext cx="11427716" cy="4549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925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AB55F464-7F61-4EB6-885C-F411042AA72C}"/>
              </a:ext>
            </a:extLst>
          </p:cNvPr>
          <p:cNvSpPr txBox="1"/>
          <p:nvPr/>
        </p:nvSpPr>
        <p:spPr>
          <a:xfrm>
            <a:off x="622301" y="391328"/>
            <a:ext cx="922161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vi-VN" sz="2200" b="1">
                <a:solidFill>
                  <a:srgbClr val="FF6600"/>
                </a:solidFill>
                <a:latin typeface="Segoe UI" panose="020B0502040204020203" pitchFamily="34" charset="0"/>
                <a:ea typeface="Roboto Medium" panose="02000000000000000000" pitchFamily="2" charset="0"/>
                <a:cs typeface="Segoe UI" panose="020B0502040204020203" pitchFamily="34" charset="0"/>
              </a:rPr>
              <a:t>6. Khuyến nghị, việc cần làm tiếp theo</a:t>
            </a:r>
            <a:endParaRPr lang="vi-VN" sz="2800" b="1">
              <a:solidFill>
                <a:srgbClr val="FF6600"/>
              </a:solidFill>
              <a:latin typeface="Segoe UI" panose="020B0502040204020203" pitchFamily="34" charset="0"/>
              <a:ea typeface="Roboto Medium" panose="02000000000000000000" pitchFamily="2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19E4224-53E6-D04B-3956-B915553CF9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301" y="1311581"/>
            <a:ext cx="11134186" cy="4805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168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Lào Cai dự chi 6.600 tỷ đồng phát triển 90 dự án nhà ở năm 2021">
            <a:extLst>
              <a:ext uri="{FF2B5EF4-FFF2-40B4-BE49-F238E27FC236}">
                <a16:creationId xmlns:a16="http://schemas.microsoft.com/office/drawing/2014/main" id="{05C0E51D-EB00-7FA3-65C9-ADD41BB0DF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38083" y="0"/>
            <a:ext cx="13030083" cy="6786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C7D40ACA-6BBD-4229-80EF-67A2D2F64B3D}"/>
              </a:ext>
            </a:extLst>
          </p:cNvPr>
          <p:cNvGrpSpPr/>
          <p:nvPr/>
        </p:nvGrpSpPr>
        <p:grpSpPr>
          <a:xfrm>
            <a:off x="-1" y="3762375"/>
            <a:ext cx="12191980" cy="3095615"/>
            <a:chOff x="-1" y="3762375"/>
            <a:chExt cx="12191980" cy="309561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82932CC-C542-441D-AED6-D2B3C6434685}"/>
                </a:ext>
              </a:extLst>
            </p:cNvPr>
            <p:cNvSpPr/>
            <p:nvPr/>
          </p:nvSpPr>
          <p:spPr>
            <a:xfrm>
              <a:off x="-1" y="3762375"/>
              <a:ext cx="12191980" cy="3095615"/>
            </a:xfrm>
            <a:prstGeom prst="rect">
              <a:avLst/>
            </a:prstGeom>
            <a:solidFill>
              <a:srgbClr val="3C4754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B21D5F8F-8646-454E-9F59-A454D240995A}"/>
                </a:ext>
              </a:extLst>
            </p:cNvPr>
            <p:cNvSpPr/>
            <p:nvPr/>
          </p:nvSpPr>
          <p:spPr>
            <a:xfrm>
              <a:off x="0" y="4515997"/>
              <a:ext cx="977552" cy="364766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D292C3E1-58DD-4A57-9142-B249610DC97B}"/>
              </a:ext>
            </a:extLst>
          </p:cNvPr>
          <p:cNvSpPr txBox="1"/>
          <p:nvPr/>
        </p:nvSpPr>
        <p:spPr>
          <a:xfrm>
            <a:off x="977572" y="3913550"/>
            <a:ext cx="1081087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9600" b="0" i="0" u="none" strike="noStrike" kern="1200" cap="none" spc="-500" normalizeH="0" baseline="0" noProof="0">
                <a:ln>
                  <a:noFill/>
                </a:ln>
                <a:solidFill>
                  <a:srgbClr val="7BBBE0"/>
                </a:solidFill>
                <a:effectLst/>
                <a:uLnTx/>
                <a:uFillTx/>
                <a:latin typeface="Segoe UI" panose="020B0502040204020203" pitchFamily="34" charset="0"/>
                <a:ea typeface="Roboto Medium" panose="02000000000000000000" pitchFamily="2" charset="0"/>
                <a:cs typeface="Segoe UI" panose="020B0502040204020203" pitchFamily="34" charset="0"/>
              </a:rPr>
              <a:t>Trân</a:t>
            </a:r>
            <a:r>
              <a:rPr kumimoji="0" lang="vi-VN" sz="9600" b="0" i="0" u="none" strike="noStrike" kern="1200" cap="none" spc="-500" normalizeH="0" noProof="0">
                <a:ln>
                  <a:noFill/>
                </a:ln>
                <a:solidFill>
                  <a:srgbClr val="7BBBE0"/>
                </a:solidFill>
                <a:effectLst/>
                <a:uLnTx/>
                <a:uFillTx/>
                <a:latin typeface="Segoe UI" panose="020B0502040204020203" pitchFamily="34" charset="0"/>
                <a:ea typeface="Roboto Medium" panose="02000000000000000000" pitchFamily="2" charset="0"/>
                <a:cs typeface="Segoe UI" panose="020B0502040204020203" pitchFamily="34" charset="0"/>
              </a:rPr>
              <a:t> trọng cảm ơn!</a:t>
            </a:r>
            <a:endParaRPr kumimoji="0" lang="en-GB" sz="9600" b="0" i="0" u="none" strike="noStrike" kern="1200" cap="none" spc="-500" normalizeH="0" baseline="0" noProof="0">
              <a:ln>
                <a:noFill/>
              </a:ln>
              <a:solidFill>
                <a:srgbClr val="7BBBE0"/>
              </a:solidFill>
              <a:effectLst/>
              <a:uLnTx/>
              <a:uFillTx/>
              <a:latin typeface="Segoe UI" panose="020B0502040204020203" pitchFamily="34" charset="0"/>
              <a:ea typeface="Roboto Medium" panose="02000000000000000000" pitchFamily="2" charset="0"/>
              <a:cs typeface="Segoe UI" panose="020B0502040204020203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5DE3061-8F8F-4431-BAB0-6D1F66D52A4E}"/>
              </a:ext>
            </a:extLst>
          </p:cNvPr>
          <p:cNvCxnSpPr>
            <a:cxnSpLocks/>
          </p:cNvCxnSpPr>
          <p:nvPr/>
        </p:nvCxnSpPr>
        <p:spPr>
          <a:xfrm>
            <a:off x="2764451" y="5886549"/>
            <a:ext cx="3817324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11928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8B77D36F-F341-454D-A938-59DB5890AF1A}"/>
              </a:ext>
            </a:extLst>
          </p:cNvPr>
          <p:cNvGrpSpPr/>
          <p:nvPr/>
        </p:nvGrpSpPr>
        <p:grpSpPr>
          <a:xfrm>
            <a:off x="6716889" y="1147851"/>
            <a:ext cx="5218429" cy="5710149"/>
            <a:chOff x="6676946" y="692631"/>
            <a:chExt cx="4791154" cy="5472737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AA38D5C-52DF-4713-B461-137578B7FB6C}"/>
                </a:ext>
              </a:extLst>
            </p:cNvPr>
            <p:cNvSpPr/>
            <p:nvPr/>
          </p:nvSpPr>
          <p:spPr>
            <a:xfrm>
              <a:off x="6676946" y="692631"/>
              <a:ext cx="4791154" cy="5472737"/>
            </a:xfrm>
            <a:prstGeom prst="rect">
              <a:avLst/>
            </a:prstGeom>
            <a:solidFill>
              <a:srgbClr val="313E4A">
                <a:alpha val="9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metos" pitchFamily="2" charset="0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0A61161-9F98-4EFD-AE5C-F64C91F5529E}"/>
                </a:ext>
              </a:extLst>
            </p:cNvPr>
            <p:cNvSpPr/>
            <p:nvPr/>
          </p:nvSpPr>
          <p:spPr>
            <a:xfrm>
              <a:off x="6873873" y="692631"/>
              <a:ext cx="4594226" cy="574718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B4DCBCB-4C9F-42BF-91B9-C9C4DBB12228}"/>
                </a:ext>
              </a:extLst>
            </p:cNvPr>
            <p:cNvSpPr txBox="1"/>
            <p:nvPr/>
          </p:nvSpPr>
          <p:spPr>
            <a:xfrm>
              <a:off x="6873873" y="779935"/>
              <a:ext cx="459422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Roboto Medium" panose="02000000000000000000" pitchFamily="2" charset="0"/>
                  <a:cs typeface="Segoe UI" panose="020B0502040204020203" pitchFamily="34" charset="0"/>
                </a:rPr>
                <a:t>Nội dung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4D60CCF8-3D21-4075-A6E1-397E14484D87}"/>
              </a:ext>
            </a:extLst>
          </p:cNvPr>
          <p:cNvSpPr/>
          <p:nvPr/>
        </p:nvSpPr>
        <p:spPr>
          <a:xfrm>
            <a:off x="6807200" y="2867681"/>
            <a:ext cx="5128117" cy="26318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50000"/>
              </a:lnSpc>
              <a:buAutoNum type="arabicPeriod"/>
              <a:defRPr/>
            </a:pPr>
            <a:r>
              <a:rPr lang="en-US" sz="1600">
                <a:solidFill>
                  <a:prstClr val="white"/>
                </a:solidFill>
                <a:latin typeface="Segoe UI" panose="020B0502040204020203" pitchFamily="34" charset="0"/>
                <a:ea typeface="Roboto Thin" pitchFamily="2" charset="0"/>
                <a:cs typeface="Segoe UI" panose="020B0502040204020203" pitchFamily="34" charset="0"/>
              </a:rPr>
              <a:t>Tóm tắt kết quả, giá trị mang lại từ Chiến lược dữ liệu tỉnh Lào Cai</a:t>
            </a:r>
          </a:p>
          <a:p>
            <a:pPr marL="342900" lvl="0" indent="-342900" algn="just">
              <a:lnSpc>
                <a:spcPct val="150000"/>
              </a:lnSpc>
              <a:buAutoNum type="arabicPeriod"/>
              <a:defRPr/>
            </a:pPr>
            <a:r>
              <a:rPr lang="en-US" sz="1600">
                <a:solidFill>
                  <a:prstClr val="white"/>
                </a:solidFill>
                <a:latin typeface="Segoe UI" panose="020B0502040204020203" pitchFamily="34" charset="0"/>
                <a:ea typeface="Roboto Thin" pitchFamily="2" charset="0"/>
                <a:cs typeface="Segoe UI" panose="020B0502040204020203" pitchFamily="34" charset="0"/>
              </a:rPr>
              <a:t>Bối cảnh, bài toán và khó khăn, thách thức</a:t>
            </a:r>
          </a:p>
          <a:p>
            <a:pPr marL="342900" lvl="0" indent="-342900" algn="just">
              <a:lnSpc>
                <a:spcPct val="150000"/>
              </a:lnSpc>
              <a:buAutoNum type="arabicPeriod"/>
              <a:defRPr/>
            </a:pPr>
            <a:r>
              <a:rPr lang="en-US" sz="1600">
                <a:solidFill>
                  <a:prstClr val="white"/>
                </a:solidFill>
                <a:latin typeface="Segoe UI" panose="020B0502040204020203" pitchFamily="34" charset="0"/>
                <a:ea typeface="Roboto Thin" pitchFamily="2" charset="0"/>
                <a:cs typeface="Segoe UI" panose="020B0502040204020203" pitchFamily="34" charset="0"/>
              </a:rPr>
              <a:t>Cách làm, giải pháp thực hiện để giải quyết vấn đề</a:t>
            </a:r>
          </a:p>
          <a:p>
            <a:pPr marL="342900" lvl="0" indent="-342900" algn="just">
              <a:lnSpc>
                <a:spcPct val="150000"/>
              </a:lnSpc>
              <a:buAutoNum type="arabicPeriod"/>
              <a:defRPr/>
            </a:pPr>
            <a:r>
              <a:rPr lang="en-US" sz="1600">
                <a:solidFill>
                  <a:prstClr val="white"/>
                </a:solidFill>
                <a:latin typeface="Segoe UI" panose="020B0502040204020203" pitchFamily="34" charset="0"/>
                <a:ea typeface="Roboto Thin" pitchFamily="2" charset="0"/>
                <a:cs typeface="Segoe UI" panose="020B0502040204020203" pitchFamily="34" charset="0"/>
              </a:rPr>
              <a:t>Kết quả, hiệu quả, giá trị mang lại</a:t>
            </a:r>
          </a:p>
          <a:p>
            <a:pPr marL="342900" lvl="0" indent="-342900" algn="just">
              <a:lnSpc>
                <a:spcPct val="150000"/>
              </a:lnSpc>
              <a:buAutoNum type="arabicPeriod"/>
              <a:defRPr/>
            </a:pPr>
            <a:r>
              <a:rPr lang="en-US" sz="1600">
                <a:solidFill>
                  <a:prstClr val="white"/>
                </a:solidFill>
                <a:latin typeface="Segoe UI" panose="020B0502040204020203" pitchFamily="34" charset="0"/>
                <a:ea typeface="Roboto Thin" pitchFamily="2" charset="0"/>
                <a:cs typeface="Segoe UI" panose="020B0502040204020203" pitchFamily="34" charset="0"/>
              </a:rPr>
              <a:t>Bài học kinh nghiệm rút ra</a:t>
            </a:r>
          </a:p>
          <a:p>
            <a:pPr marL="342900" lvl="0" indent="-342900" algn="just">
              <a:lnSpc>
                <a:spcPct val="150000"/>
              </a:lnSpc>
              <a:buAutoNum type="arabicPeriod"/>
              <a:defRPr/>
            </a:pPr>
            <a:r>
              <a:rPr lang="en-US" sz="1600">
                <a:solidFill>
                  <a:prstClr val="white"/>
                </a:solidFill>
                <a:latin typeface="Segoe UI" panose="020B0502040204020203" pitchFamily="34" charset="0"/>
                <a:ea typeface="Roboto Thin" pitchFamily="2" charset="0"/>
                <a:cs typeface="Segoe UI" panose="020B0502040204020203" pitchFamily="34" charset="0"/>
              </a:rPr>
              <a:t>Khuyến nghị, định hướng việc cần làm tiếp theo</a:t>
            </a:r>
          </a:p>
        </p:txBody>
      </p:sp>
      <p:pic>
        <p:nvPicPr>
          <p:cNvPr id="16" name="Graphic 15" descr="Earth Globe Asia-Australia">
            <a:extLst>
              <a:ext uri="{FF2B5EF4-FFF2-40B4-BE49-F238E27FC236}">
                <a16:creationId xmlns:a16="http://schemas.microsoft.com/office/drawing/2014/main" id="{A9269F72-1480-4F69-95E4-2EFFE2A78B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51412" y="1757257"/>
            <a:ext cx="1085218" cy="1085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88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AB55F464-7F61-4EB6-885C-F411042AA72C}"/>
              </a:ext>
            </a:extLst>
          </p:cNvPr>
          <p:cNvSpPr txBox="1"/>
          <p:nvPr/>
        </p:nvSpPr>
        <p:spPr>
          <a:xfrm>
            <a:off x="622301" y="391328"/>
            <a:ext cx="922161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vi-VN" sz="2200" b="1">
                <a:solidFill>
                  <a:srgbClr val="FF6600"/>
                </a:solidFill>
                <a:latin typeface="Segoe UI" panose="020B0502040204020203" pitchFamily="34" charset="0"/>
                <a:ea typeface="Roboto Medium" panose="02000000000000000000" pitchFamily="2" charset="0"/>
                <a:cs typeface="Segoe UI" panose="020B0502040204020203" pitchFamily="34" charset="0"/>
              </a:rPr>
              <a:t>1. Tóm tắt kết quả, giá trị mang lại từ Chiến lược dữ liệu tỉnh Lào Cai</a:t>
            </a:r>
          </a:p>
          <a:p>
            <a:pPr lvl="0">
              <a:defRPr/>
            </a:pPr>
            <a:endParaRPr lang="vi-VN" sz="2800" b="1">
              <a:solidFill>
                <a:srgbClr val="FF6600"/>
              </a:solidFill>
              <a:latin typeface="Segoe UI" panose="020B0502040204020203" pitchFamily="34" charset="0"/>
              <a:ea typeface="Roboto Medium" panose="02000000000000000000" pitchFamily="2" charset="0"/>
              <a:cs typeface="Segoe UI" panose="020B0502040204020203" pitchFamily="34" charset="0"/>
            </a:endParaRPr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BBB5AAC8-70CA-EBFD-6406-E7324447FE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4299" y="1261569"/>
            <a:ext cx="10264422" cy="5031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216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AB55F464-7F61-4EB6-885C-F411042AA72C}"/>
              </a:ext>
            </a:extLst>
          </p:cNvPr>
          <p:cNvSpPr txBox="1"/>
          <p:nvPr/>
        </p:nvSpPr>
        <p:spPr>
          <a:xfrm>
            <a:off x="622301" y="391328"/>
            <a:ext cx="922161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vi-VN" sz="2200" b="1">
                <a:solidFill>
                  <a:srgbClr val="FF6600"/>
                </a:solidFill>
                <a:latin typeface="Segoe UI" panose="020B0502040204020203" pitchFamily="34" charset="0"/>
                <a:ea typeface="Roboto Medium" panose="02000000000000000000" pitchFamily="2" charset="0"/>
                <a:cs typeface="Segoe UI" panose="020B0502040204020203" pitchFamily="34" charset="0"/>
              </a:rPr>
              <a:t>1. Tóm tắt kết quả, giá trị mang lại từ Chiến lược dữ liệu tỉnh Lào Cai</a:t>
            </a:r>
          </a:p>
          <a:p>
            <a:pPr lvl="0">
              <a:defRPr/>
            </a:pPr>
            <a:endParaRPr lang="vi-VN" sz="2800" b="1">
              <a:solidFill>
                <a:srgbClr val="FF6600"/>
              </a:solidFill>
              <a:latin typeface="Segoe UI" panose="020B0502040204020203" pitchFamily="34" charset="0"/>
              <a:ea typeface="Roboto Medium" panose="02000000000000000000" pitchFamily="2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0E1A49A-362E-CD47-B244-D622A91F4A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6332" y="1253102"/>
            <a:ext cx="9869312" cy="4837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87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AB55F464-7F61-4EB6-885C-F411042AA72C}"/>
              </a:ext>
            </a:extLst>
          </p:cNvPr>
          <p:cNvSpPr txBox="1"/>
          <p:nvPr/>
        </p:nvSpPr>
        <p:spPr>
          <a:xfrm>
            <a:off x="622301" y="391328"/>
            <a:ext cx="922161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vi-VN" sz="2200" b="1">
                <a:solidFill>
                  <a:srgbClr val="FF6600"/>
                </a:solidFill>
                <a:latin typeface="Segoe UI" panose="020B0502040204020203" pitchFamily="34" charset="0"/>
                <a:ea typeface="Roboto Medium" panose="02000000000000000000" pitchFamily="2" charset="0"/>
                <a:cs typeface="Segoe UI" panose="020B0502040204020203" pitchFamily="34" charset="0"/>
              </a:rPr>
              <a:t>2. Bối cảnh, bài toán và khó khăn, thách thức</a:t>
            </a:r>
            <a:endParaRPr lang="vi-VN" sz="2800" b="1">
              <a:solidFill>
                <a:srgbClr val="FF6600"/>
              </a:solidFill>
              <a:latin typeface="Segoe UI" panose="020B0502040204020203" pitchFamily="34" charset="0"/>
              <a:ea typeface="Roboto Medium" panose="02000000000000000000" pitchFamily="2" charset="0"/>
              <a:cs typeface="Segoe UI" panose="020B050204020402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0A49CC-BE7A-093A-21DE-8EF280F2FF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7423" y="1388533"/>
            <a:ext cx="8952088" cy="45671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875217C-4961-C0CD-7C32-16022D8AED98}"/>
              </a:ext>
            </a:extLst>
          </p:cNvPr>
          <p:cNvSpPr txBox="1"/>
          <p:nvPr/>
        </p:nvSpPr>
        <p:spPr>
          <a:xfrm>
            <a:off x="428978" y="1388533"/>
            <a:ext cx="19642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VN" b="1"/>
              <a:t>Bối cảnh thực hiện</a:t>
            </a:r>
          </a:p>
        </p:txBody>
      </p:sp>
    </p:spTree>
    <p:extLst>
      <p:ext uri="{BB962C8B-B14F-4D97-AF65-F5344CB8AC3E}">
        <p14:creationId xmlns:p14="http://schemas.microsoft.com/office/powerpoint/2010/main" val="47431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AB55F464-7F61-4EB6-885C-F411042AA72C}"/>
              </a:ext>
            </a:extLst>
          </p:cNvPr>
          <p:cNvSpPr txBox="1"/>
          <p:nvPr/>
        </p:nvSpPr>
        <p:spPr>
          <a:xfrm>
            <a:off x="622301" y="391328"/>
            <a:ext cx="922161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vi-VN" sz="2200" b="1">
                <a:solidFill>
                  <a:srgbClr val="FF6600"/>
                </a:solidFill>
                <a:latin typeface="Segoe UI" panose="020B0502040204020203" pitchFamily="34" charset="0"/>
                <a:ea typeface="Roboto Medium" panose="02000000000000000000" pitchFamily="2" charset="0"/>
                <a:cs typeface="Segoe UI" panose="020B0502040204020203" pitchFamily="34" charset="0"/>
              </a:rPr>
              <a:t>2. Bối cảnh, bài toán và khó khăn, thách thức</a:t>
            </a:r>
            <a:endParaRPr lang="vi-VN" sz="2800" b="1">
              <a:solidFill>
                <a:srgbClr val="FF6600"/>
              </a:solidFill>
              <a:latin typeface="Segoe UI" panose="020B0502040204020203" pitchFamily="34" charset="0"/>
              <a:ea typeface="Roboto Medium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75217C-4961-C0CD-7C32-16022D8AED98}"/>
              </a:ext>
            </a:extLst>
          </p:cNvPr>
          <p:cNvSpPr txBox="1"/>
          <p:nvPr/>
        </p:nvSpPr>
        <p:spPr>
          <a:xfrm>
            <a:off x="428978" y="1388533"/>
            <a:ext cx="2483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VN" b="1"/>
              <a:t>Bài toán cần giải quyế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0C2461A-6E4D-7412-578A-B907F1E50C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977" y="1757865"/>
            <a:ext cx="11738045" cy="4349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279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AB55F464-7F61-4EB6-885C-F411042AA72C}"/>
              </a:ext>
            </a:extLst>
          </p:cNvPr>
          <p:cNvSpPr txBox="1"/>
          <p:nvPr/>
        </p:nvSpPr>
        <p:spPr>
          <a:xfrm>
            <a:off x="622301" y="391328"/>
            <a:ext cx="922161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vi-VN" sz="2200" b="1">
                <a:solidFill>
                  <a:srgbClr val="FF6600"/>
                </a:solidFill>
                <a:latin typeface="Segoe UI" panose="020B0502040204020203" pitchFamily="34" charset="0"/>
                <a:ea typeface="Roboto Medium" panose="02000000000000000000" pitchFamily="2" charset="0"/>
                <a:cs typeface="Segoe UI" panose="020B0502040204020203" pitchFamily="34" charset="0"/>
              </a:rPr>
              <a:t>2. Bối cảnh, bài toán và khó khăn, thách thức</a:t>
            </a:r>
            <a:endParaRPr lang="vi-VN" sz="2800" b="1">
              <a:solidFill>
                <a:srgbClr val="FF6600"/>
              </a:solidFill>
              <a:latin typeface="Segoe UI" panose="020B0502040204020203" pitchFamily="34" charset="0"/>
              <a:ea typeface="Roboto Medium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75217C-4961-C0CD-7C32-16022D8AED98}"/>
              </a:ext>
            </a:extLst>
          </p:cNvPr>
          <p:cNvSpPr txBox="1"/>
          <p:nvPr/>
        </p:nvSpPr>
        <p:spPr>
          <a:xfrm>
            <a:off x="428978" y="1388533"/>
            <a:ext cx="24835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VN" b="1"/>
              <a:t>Khó khăn, thách thứ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BA86BA-5BAE-59F8-EE1F-C5AE474FA9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510" y="1757865"/>
            <a:ext cx="11769889" cy="3927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68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AB55F464-7F61-4EB6-885C-F411042AA72C}"/>
              </a:ext>
            </a:extLst>
          </p:cNvPr>
          <p:cNvSpPr txBox="1"/>
          <p:nvPr/>
        </p:nvSpPr>
        <p:spPr>
          <a:xfrm>
            <a:off x="622301" y="391328"/>
            <a:ext cx="922161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vi-VN" sz="2200" b="1">
                <a:solidFill>
                  <a:srgbClr val="FF6600"/>
                </a:solidFill>
                <a:latin typeface="Segoe UI" panose="020B0502040204020203" pitchFamily="34" charset="0"/>
                <a:ea typeface="Roboto Medium" panose="02000000000000000000" pitchFamily="2" charset="0"/>
                <a:cs typeface="Segoe UI" panose="020B0502040204020203" pitchFamily="34" charset="0"/>
              </a:rPr>
              <a:t>3. Cách làm, giải pháp thực hiện để giải quyết vấn đề</a:t>
            </a:r>
            <a:endParaRPr lang="vi-VN" sz="2800" b="1">
              <a:solidFill>
                <a:srgbClr val="FF6600"/>
              </a:solidFill>
              <a:latin typeface="Segoe UI" panose="020B0502040204020203" pitchFamily="34" charset="0"/>
              <a:ea typeface="Roboto Medium" panose="02000000000000000000" pitchFamily="2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451603-6C49-D116-05BF-B45CDF586A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887" y="1285209"/>
            <a:ext cx="11489186" cy="4630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97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AB55F464-7F61-4EB6-885C-F411042AA72C}"/>
              </a:ext>
            </a:extLst>
          </p:cNvPr>
          <p:cNvSpPr txBox="1"/>
          <p:nvPr/>
        </p:nvSpPr>
        <p:spPr>
          <a:xfrm>
            <a:off x="622301" y="391328"/>
            <a:ext cx="922161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vi-VN" sz="2200" b="1">
                <a:solidFill>
                  <a:srgbClr val="FF6600"/>
                </a:solidFill>
                <a:latin typeface="Segoe UI" panose="020B0502040204020203" pitchFamily="34" charset="0"/>
                <a:ea typeface="Roboto Medium" panose="02000000000000000000" pitchFamily="2" charset="0"/>
                <a:cs typeface="Segoe UI" panose="020B0502040204020203" pitchFamily="34" charset="0"/>
              </a:rPr>
              <a:t>4. Kết quả, hiệu quả, giá trị mang lại </a:t>
            </a:r>
            <a:endParaRPr lang="vi-VN" sz="2800" b="1">
              <a:solidFill>
                <a:srgbClr val="FF6600"/>
              </a:solidFill>
              <a:latin typeface="Segoe UI" panose="020B0502040204020203" pitchFamily="34" charset="0"/>
              <a:ea typeface="Roboto Medium" panose="02000000000000000000" pitchFamily="2" charset="0"/>
              <a:cs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2B67C09-CFEC-B359-D7A6-42BD734E41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666" y="1355108"/>
            <a:ext cx="11060757" cy="414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75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NuXcDDS5ugfirYC1N.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809</TotalTime>
  <Words>237</Words>
  <Application>Microsoft Macintosh PowerPoint</Application>
  <PresentationFormat>Widescreen</PresentationFormat>
  <Paragraphs>33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Calibri Light</vt:lpstr>
      <vt:lpstr>Geometos</vt:lpstr>
      <vt:lpstr>Segoe UI</vt:lpstr>
      <vt:lpstr>Segoe UI Light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h Vu Duy (FIS CC HN)</dc:creator>
  <cp:lastModifiedBy>HUY LEBA</cp:lastModifiedBy>
  <cp:revision>1284</cp:revision>
  <dcterms:created xsi:type="dcterms:W3CDTF">2018-05-14T08:05:46Z</dcterms:created>
  <dcterms:modified xsi:type="dcterms:W3CDTF">2023-02-21T09:03:00Z</dcterms:modified>
</cp:coreProperties>
</file>